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256" r:id="rId2"/>
    <p:sldId id="259" r:id="rId3"/>
    <p:sldId id="317" r:id="rId4"/>
    <p:sldId id="311" r:id="rId5"/>
    <p:sldId id="299" r:id="rId6"/>
    <p:sldId id="303" r:id="rId7"/>
    <p:sldId id="257" r:id="rId8"/>
    <p:sldId id="258" r:id="rId9"/>
    <p:sldId id="314" r:id="rId10"/>
    <p:sldId id="318" r:id="rId11"/>
    <p:sldId id="261" r:id="rId12"/>
    <p:sldId id="323" r:id="rId13"/>
    <p:sldId id="260" r:id="rId14"/>
    <p:sldId id="322" r:id="rId15"/>
    <p:sldId id="324" r:id="rId16"/>
    <p:sldId id="326" r:id="rId17"/>
    <p:sldId id="327" r:id="rId18"/>
    <p:sldId id="325" r:id="rId19"/>
    <p:sldId id="328" r:id="rId20"/>
    <p:sldId id="315" r:id="rId21"/>
    <p:sldId id="316" r:id="rId22"/>
    <p:sldId id="319" r:id="rId23"/>
    <p:sldId id="264" r:id="rId24"/>
    <p:sldId id="265" r:id="rId25"/>
    <p:sldId id="266" r:id="rId26"/>
    <p:sldId id="267" r:id="rId27"/>
    <p:sldId id="268" r:id="rId28"/>
    <p:sldId id="269" r:id="rId29"/>
    <p:sldId id="320" r:id="rId30"/>
    <p:sldId id="270" r:id="rId31"/>
    <p:sldId id="271" r:id="rId32"/>
    <p:sldId id="272" r:id="rId33"/>
    <p:sldId id="273" r:id="rId34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>
        <p:scale>
          <a:sx n="80" d="100"/>
          <a:sy n="80" d="100"/>
        </p:scale>
        <p:origin x="394" y="15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59428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33794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63320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26522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92125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76937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83366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20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21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24372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23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24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25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26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27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7640867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30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31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78716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32</a:t>
            </a:fld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3</a:t>
            </a:fld>
            <a:endParaRPr lang="en-ID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2678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1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3.png"/><Relationship Id="rId4" Type="http://schemas.openxmlformats.org/officeDocument/2006/relationships/image" Target="../media/image3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723085" y="3042306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217858" y="329511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03164" y="2636466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 rotWithShape="1">
          <a:blip r:embed="rId7"/>
          <a:srcRect l="18603" t="20961" r="18241" b="20269"/>
          <a:stretch/>
        </p:blipFill>
        <p:spPr bwMode="auto">
          <a:xfrm>
            <a:off x="8651855" y="2698303"/>
            <a:ext cx="2233160" cy="2078061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692317" y="326342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42369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929338" y="1997298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 descr="freertos架构框图">
            <a:extLst>
              <a:ext uri="{FF2B5EF4-FFF2-40B4-BE49-F238E27FC236}">
                <a16:creationId xmlns:a16="http://schemas.microsoft.com/office/drawing/2014/main" id="{2A19AEE0-036C-61B4-45C6-89D8E544DD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873" y="193183"/>
            <a:ext cx="4967496" cy="61754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533400" y="2061692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4A42CE7C-6B60-6B71-E8BE-43A006399792}"/>
              </a:ext>
            </a:extLst>
          </p:cNvPr>
          <p:cNvSpPr txBox="1"/>
          <p:nvPr/>
        </p:nvSpPr>
        <p:spPr>
          <a:xfrm>
            <a:off x="3690783" y="1425783"/>
            <a:ext cx="400000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zh-CN" altLang="en-US" sz="28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主目录下</a:t>
            </a:r>
            <a:endParaRPr lang="en-US" altLang="zh-CN" sz="28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_asm_vector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定义异常向量和中断处理程序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lis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链表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管理和内存管理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内存管理单元（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）的实现，用于内存保护和虚拟内存管理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queue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队列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间通信和同步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startup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系统启动时的初始化和配置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ask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任务管理的实现，用于创建、删除和管理任务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imer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定时器管理的实现，用于任务的延时和超时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wrapper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一些封装函数，用于简化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调用。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E258324-80F1-DACC-ABF7-1682B6054C46}"/>
              </a:ext>
            </a:extLst>
          </p:cNvPr>
          <p:cNvSpPr txBox="1"/>
          <p:nvPr/>
        </p:nvSpPr>
        <p:spPr>
          <a:xfrm>
            <a:off x="7941928" y="1295400"/>
            <a:ext cx="3861559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altLang="zh-CN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  <a:ea typeface="微软雅黑" panose="020B0503020204020204" pitchFamily="34" charset="-122"/>
              </a:rPr>
              <a:t>./portable/GCC/ARM_CA53_64_RaspberryPi3/</a:t>
            </a:r>
            <a:r>
              <a:rPr lang="zh-CN" altLang="en-US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目录下</a:t>
            </a:r>
            <a:endParaRPr lang="en-US" altLang="zh-CN" sz="20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与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Raspberry Pi 3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平台相关的端口层实现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ASM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平台相关的底层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macro.h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头文件，包含了与平台相关的宏定义和类型定义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emMang</a:t>
            </a: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/heap_1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一个简单的堆内存管理器的实现。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002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 dirty="0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4" y="1487336"/>
            <a:ext cx="59463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基本方法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 dirty="0">
              <a:latin typeface="+mj-ea"/>
              <a:ea typeface="+mj-e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改写原则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sz="1600" dirty="0">
                <a:latin typeface="+mj-ea"/>
                <a:ea typeface="+mj-ea"/>
              </a:rPr>
              <a:t>Rust</a:t>
            </a:r>
            <a:r>
              <a:rPr lang="zh-CN" sz="1600" dirty="0">
                <a:latin typeface="+mj-ea"/>
                <a:ea typeface="+mj-ea"/>
              </a:rPr>
              <a:t>命名规范的版本，如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vInitialiseList</a:t>
            </a:r>
            <a:r>
              <a:rPr lang="zh-CN" sz="1600" dirty="0">
                <a:latin typeface="+mj-ea"/>
                <a:ea typeface="+mj-ea"/>
              </a:rPr>
              <a:t>”改为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initialize_list</a:t>
            </a:r>
            <a:r>
              <a:rPr lang="zh-CN" sz="1600" dirty="0">
                <a:latin typeface="+mj-ea"/>
                <a:ea typeface="+mj-ea"/>
              </a:rPr>
              <a:t>”</a:t>
            </a:r>
            <a:endParaRPr sz="1600" dirty="0">
              <a:latin typeface="+mj-ea"/>
              <a:ea typeface="+mj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与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的相互调用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71FCF01-A869-E2B6-7979-538FD9D4C8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1701" y="452521"/>
            <a:ext cx="4320000" cy="21587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BFACD2D-4336-1981-0C27-DABF9820BB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3464" y="1487766"/>
            <a:ext cx="4320000" cy="2247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341097F-D9CA-537D-F4AA-D58F83E76C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1701" y="2998036"/>
            <a:ext cx="4320000" cy="21978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469EE2C-B154-2D2B-5881-069D6174A1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464" y="4096983"/>
            <a:ext cx="4320000" cy="25464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1" name="直接连接符 7">
            <a:extLst>
              <a:ext uri="{FF2B5EF4-FFF2-40B4-BE49-F238E27FC236}">
                <a16:creationId xmlns:a16="http://schemas.microsoft.com/office/drawing/2014/main" id="{A006FCE6-D529-6127-8DFD-9307BBEA6BE5}"/>
              </a:ext>
            </a:extLst>
          </p:cNvPr>
          <p:cNvCxnSpPr>
            <a:cxnSpLocks/>
          </p:cNvCxnSpPr>
          <p:nvPr/>
        </p:nvCxnSpPr>
        <p:spPr>
          <a:xfrm>
            <a:off x="5810300" y="628058"/>
            <a:ext cx="0" cy="552160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8">
            <a:extLst>
              <a:ext uri="{FF2B5EF4-FFF2-40B4-BE49-F238E27FC236}">
                <a16:creationId xmlns:a16="http://schemas.microsoft.com/office/drawing/2014/main" id="{36F1401D-FB85-F0C8-0A3D-E6D696D4A1DA}"/>
              </a:ext>
            </a:extLst>
          </p:cNvPr>
          <p:cNvGrpSpPr/>
          <p:nvPr/>
        </p:nvGrpSpPr>
        <p:grpSpPr>
          <a:xfrm>
            <a:off x="5707887" y="1429090"/>
            <a:ext cx="569672" cy="204820"/>
            <a:chOff x="5964215" y="1531583"/>
            <a:chExt cx="621997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椭圆 8">
              <a:extLst>
                <a:ext uri="{FF2B5EF4-FFF2-40B4-BE49-F238E27FC236}">
                  <a16:creationId xmlns:a16="http://schemas.microsoft.com/office/drawing/2014/main" id="{A5D62335-FD36-38B0-7766-3C7F36C4F49E}"/>
                </a:ext>
              </a:extLst>
            </p:cNvPr>
            <p:cNvSpPr/>
            <p:nvPr/>
          </p:nvSpPr>
          <p:spPr>
            <a:xfrm>
              <a:off x="5964215" y="153158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4" name="直接连接符 12">
              <a:extLst>
                <a:ext uri="{FF2B5EF4-FFF2-40B4-BE49-F238E27FC236}">
                  <a16:creationId xmlns:a16="http://schemas.microsoft.com/office/drawing/2014/main" id="{B0CEFC62-6727-F9E4-D613-432EF064417A}"/>
                </a:ext>
              </a:extLst>
            </p:cNvPr>
            <p:cNvCxnSpPr>
              <a:cxnSpLocks/>
              <a:stCxn id="13" idx="6"/>
            </p:cNvCxnSpPr>
            <p:nvPr/>
          </p:nvCxnSpPr>
          <p:spPr>
            <a:xfrm>
              <a:off x="6187848" y="1643400"/>
              <a:ext cx="398364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2">
            <a:extLst>
              <a:ext uri="{FF2B5EF4-FFF2-40B4-BE49-F238E27FC236}">
                <a16:creationId xmlns:a16="http://schemas.microsoft.com/office/drawing/2014/main" id="{6809C09A-74E0-C62D-6266-D637F4F5CE22}"/>
              </a:ext>
            </a:extLst>
          </p:cNvPr>
          <p:cNvGrpSpPr/>
          <p:nvPr/>
        </p:nvGrpSpPr>
        <p:grpSpPr>
          <a:xfrm>
            <a:off x="5707889" y="3994573"/>
            <a:ext cx="569670" cy="204820"/>
            <a:chOff x="5964215" y="4790393"/>
            <a:chExt cx="62199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椭圆 10">
              <a:extLst>
                <a:ext uri="{FF2B5EF4-FFF2-40B4-BE49-F238E27FC236}">
                  <a16:creationId xmlns:a16="http://schemas.microsoft.com/office/drawing/2014/main" id="{CC8E7032-446D-12DD-2DF6-8461CE784F91}"/>
                </a:ext>
              </a:extLst>
            </p:cNvPr>
            <p:cNvSpPr/>
            <p:nvPr/>
          </p:nvSpPr>
          <p:spPr>
            <a:xfrm>
              <a:off x="5964215" y="479039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7" name="直接连接符 14">
              <a:extLst>
                <a:ext uri="{FF2B5EF4-FFF2-40B4-BE49-F238E27FC236}">
                  <a16:creationId xmlns:a16="http://schemas.microsoft.com/office/drawing/2014/main" id="{601E5B84-F17F-549A-CD34-67A603D946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9738" y="4902208"/>
              <a:ext cx="396472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0CEE4C4-3472-E9D5-EF9B-CFA442ED156A}"/>
              </a:ext>
            </a:extLst>
          </p:cNvPr>
          <p:cNvGrpSpPr/>
          <p:nvPr/>
        </p:nvGrpSpPr>
        <p:grpSpPr>
          <a:xfrm flipH="1">
            <a:off x="5235551" y="2508890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椭圆 9">
              <a:extLst>
                <a:ext uri="{FF2B5EF4-FFF2-40B4-BE49-F238E27FC236}">
                  <a16:creationId xmlns:a16="http://schemas.microsoft.com/office/drawing/2014/main" id="{51DB9E73-A06E-8E4A-C5D0-695B25233911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20" name="直接连接符 16">
              <a:extLst>
                <a:ext uri="{FF2B5EF4-FFF2-40B4-BE49-F238E27FC236}">
                  <a16:creationId xmlns:a16="http://schemas.microsoft.com/office/drawing/2014/main" id="{5BBE6B19-35C6-54E1-0F18-B1981047B147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10">
            <a:extLst>
              <a:ext uri="{FF2B5EF4-FFF2-40B4-BE49-F238E27FC236}">
                <a16:creationId xmlns:a16="http://schemas.microsoft.com/office/drawing/2014/main" id="{B70C78C3-56A5-569F-5A9A-9F576DA0ECE0}"/>
              </a:ext>
            </a:extLst>
          </p:cNvPr>
          <p:cNvGrpSpPr/>
          <p:nvPr/>
        </p:nvGrpSpPr>
        <p:grpSpPr>
          <a:xfrm flipH="1">
            <a:off x="5238891" y="5267822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" name="椭圆 9">
              <a:extLst>
                <a:ext uri="{FF2B5EF4-FFF2-40B4-BE49-F238E27FC236}">
                  <a16:creationId xmlns:a16="http://schemas.microsoft.com/office/drawing/2014/main" id="{72688116-B09C-6DC9-5974-2F0619DD3AFD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35" name="直接连接符 16">
              <a:extLst>
                <a:ext uri="{FF2B5EF4-FFF2-40B4-BE49-F238E27FC236}">
                  <a16:creationId xmlns:a16="http://schemas.microsoft.com/office/drawing/2014/main" id="{944BF9A9-4EF5-5FCA-9262-C260D8A024DE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标题 1">
            <a:extLst>
              <a:ext uri="{FF2B5EF4-FFF2-40B4-BE49-F238E27FC236}">
                <a16:creationId xmlns:a16="http://schemas.microsoft.com/office/drawing/2014/main" id="{A819EE68-57A5-2636-39D2-0F073EE3A325}"/>
              </a:ext>
            </a:extLst>
          </p:cNvPr>
          <p:cNvSpPr txBox="1">
            <a:spLocks/>
          </p:cNvSpPr>
          <p:nvPr/>
        </p:nvSpPr>
        <p:spPr bwMode="auto">
          <a:xfrm>
            <a:off x="6277559" y="5471211"/>
            <a:ext cx="483065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逐个突破关键点</a:t>
            </a:r>
            <a:endParaRPr lang="en-US" altLang="zh-CN" sz="2800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为项目可行性提供了坚实保证</a:t>
            </a:r>
          </a:p>
        </p:txBody>
      </p:sp>
    </p:spTree>
    <p:extLst>
      <p:ext uri="{BB962C8B-B14F-4D97-AF65-F5344CB8AC3E}">
        <p14:creationId xmlns:p14="http://schemas.microsoft.com/office/powerpoint/2010/main" val="1703409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</p:spTree>
    <p:extLst>
      <p:ext uri="{BB962C8B-B14F-4D97-AF65-F5344CB8AC3E}">
        <p14:creationId xmlns:p14="http://schemas.microsoft.com/office/powerpoint/2010/main" val="26634989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B31F1F-FCF1-813D-DBC8-B570B3322302}"/>
              </a:ext>
            </a:extLst>
          </p:cNvPr>
          <p:cNvSpPr txBox="1"/>
          <p:nvPr/>
        </p:nvSpPr>
        <p:spPr bwMode="auto">
          <a:xfrm>
            <a:off x="675564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问题：编译时报错头文件中的</a:t>
            </a:r>
            <a:r>
              <a:rPr lang="en-US" altLang="zh-CN" dirty="0"/>
              <a:t>const</a:t>
            </a:r>
            <a:r>
              <a:rPr lang="zh-CN" altLang="en-US" dirty="0"/>
              <a:t>常量重复定义，如下图。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7BEF688-7BC2-5066-46E7-5FAD3CB9F6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3802" y="1911023"/>
            <a:ext cx="7375985" cy="414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5667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AD5EAD1-E25C-7320-F1DC-F9D966D32FB5}"/>
              </a:ext>
            </a:extLst>
          </p:cNvPr>
          <p:cNvSpPr txBox="1"/>
          <p:nvPr/>
        </p:nvSpPr>
        <p:spPr bwMode="auto">
          <a:xfrm>
            <a:off x="675564" y="1295400"/>
            <a:ext cx="8536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解决方案：将重复定义的</a:t>
            </a:r>
            <a:r>
              <a:rPr lang="en-US" altLang="zh-CN" dirty="0"/>
              <a:t>const</a:t>
            </a:r>
            <a:r>
              <a:rPr lang="zh-CN" altLang="en-US" dirty="0"/>
              <a:t>常量改成宏定义的形式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DD7B540-798F-0F77-7675-E87171A6BE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75564" y="1902055"/>
            <a:ext cx="8698981" cy="3797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1948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A6C55BD-BAF2-04F0-D8AD-ED231EDA06F1}"/>
              </a:ext>
            </a:extLst>
          </p:cNvPr>
          <p:cNvSpPr txBox="1"/>
          <p:nvPr/>
        </p:nvSpPr>
        <p:spPr bwMode="auto">
          <a:xfrm>
            <a:off x="533400" y="1658470"/>
            <a:ext cx="10768083" cy="2116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dirty="0"/>
              <a:t>问题：上板时为</a:t>
            </a:r>
            <a:r>
              <a:rPr lang="en-US" dirty="0"/>
              <a:t>no-std</a:t>
            </a:r>
            <a:r>
              <a:rPr lang="zh-CN" dirty="0"/>
              <a:t>环境，这意味着不支持</a:t>
            </a:r>
            <a:r>
              <a:rPr lang="en-US" dirty="0"/>
              <a:t>std</a:t>
            </a:r>
            <a:r>
              <a:rPr lang="zh-CN" dirty="0"/>
              <a:t>库</a:t>
            </a:r>
            <a:r>
              <a:rPr lang="zh-CN" altLang="en-US" dirty="0"/>
              <a:t>，而我们的代码中大量使用了</a:t>
            </a:r>
            <a:r>
              <a:rPr lang="en-US" altLang="zh-CN" dirty="0"/>
              <a:t>std</a:t>
            </a:r>
            <a:r>
              <a:rPr lang="zh-CN" altLang="en-US" dirty="0"/>
              <a:t>库的功能</a:t>
            </a:r>
            <a:r>
              <a:rPr lang="zh-CN" dirty="0"/>
              <a:t>。</a:t>
            </a: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zh-CN" dirty="0"/>
              <a:t>解决方案：使用</a:t>
            </a:r>
            <a:r>
              <a:rPr lang="en-US" dirty="0"/>
              <a:t>no-std</a:t>
            </a:r>
            <a:r>
              <a:rPr lang="zh-CN" dirty="0"/>
              <a:t>环境支持的库如</a:t>
            </a:r>
            <a:r>
              <a:rPr lang="en-US" dirty="0"/>
              <a:t>core</a:t>
            </a:r>
            <a:r>
              <a:rPr lang="zh-CN" dirty="0"/>
              <a:t>，</a:t>
            </a:r>
            <a:r>
              <a:rPr lang="en-US" dirty="0" err="1"/>
              <a:t>alloc</a:t>
            </a:r>
            <a:r>
              <a:rPr lang="zh-CN" dirty="0"/>
              <a:t>等来替代</a:t>
            </a:r>
            <a:r>
              <a:rPr lang="en-US" dirty="0"/>
              <a:t>std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/>
              <a:t>core</a:t>
            </a:r>
            <a:r>
              <a:rPr lang="zh-CN" dirty="0"/>
              <a:t>：</a:t>
            </a:r>
            <a:r>
              <a:rPr lang="zh-CN" altLang="en-US" sz="1600" dirty="0"/>
              <a:t>核心库，提供</a:t>
            </a:r>
            <a:r>
              <a:rPr lang="en-US" altLang="zh-CN" sz="1600" dirty="0"/>
              <a:t>Rust</a:t>
            </a:r>
            <a:r>
              <a:rPr lang="zh-CN" altLang="en-US" sz="1600" dirty="0"/>
              <a:t>语言的基础设施，如基础数据类型、操作符、宏等</a:t>
            </a:r>
            <a:endParaRPr lang="en-US" sz="1600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 err="1"/>
              <a:t>alloc</a:t>
            </a:r>
            <a:r>
              <a:rPr lang="zh-CN" dirty="0"/>
              <a:t>：</a:t>
            </a:r>
            <a:r>
              <a:rPr lang="zh-CN" altLang="en-US" sz="1600" dirty="0"/>
              <a:t>提供动态内存分配的支持</a:t>
            </a:r>
            <a:endParaRPr lang="en-US" altLang="zh-CN" sz="1600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altLang="zh-CN" dirty="0" err="1"/>
              <a:t>no_std_async</a:t>
            </a:r>
            <a:r>
              <a:rPr lang="zh-CN" altLang="en-US" dirty="0"/>
              <a:t>：</a:t>
            </a:r>
            <a:r>
              <a:rPr lang="zh-CN" altLang="en-US" sz="1600" dirty="0"/>
              <a:t>专为</a:t>
            </a:r>
            <a:r>
              <a:rPr lang="en-US" altLang="zh-CN" sz="1600" dirty="0"/>
              <a:t>no-std</a:t>
            </a:r>
            <a:r>
              <a:rPr lang="zh-CN" altLang="en-US" sz="1600" dirty="0"/>
              <a:t>环境设计的异步库，旨在提供不依赖标准库的情况下使用异步编程的能力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3917726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E6B97F4-113F-5370-5F0C-846ADA2DF5A8}"/>
              </a:ext>
            </a:extLst>
          </p:cNvPr>
          <p:cNvSpPr txBox="1"/>
          <p:nvPr/>
        </p:nvSpPr>
        <p:spPr>
          <a:xfrm>
            <a:off x="533399" y="1468104"/>
            <a:ext cx="11261036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在代码的具体实现中，我们做了以下替换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sync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 =&gt; core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core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boxed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box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mem =&gt; core::m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no_std_asyn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>
              <a:lnSpc>
                <a:spcPct val="150000"/>
              </a:lnSpc>
            </a:pPr>
            <a:r>
              <a:rPr lang="zh-CN" altLang="en-US" dirty="0"/>
              <a:t>此外，在实现某些功能时，还引入了诸如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core::marker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hantomData</a:t>
            </a:r>
            <a:r>
              <a:rPr lang="zh-CN" altLang="en-US" dirty="0"/>
              <a:t>等</a:t>
            </a:r>
            <a:r>
              <a:rPr lang="en-US" altLang="zh-CN" dirty="0"/>
              <a:t>no-std</a:t>
            </a:r>
            <a:r>
              <a:rPr lang="zh-CN" altLang="en-US" dirty="0"/>
              <a:t>环境的库中的内容。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986875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9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25346" y="3148645"/>
            <a:ext cx="3465001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sz="5400"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50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50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58323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58323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609350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>
            <a:extLst>
              <a:ext uri="{FF2B5EF4-FFF2-40B4-BE49-F238E27FC236}">
                <a16:creationId xmlns:a16="http://schemas.microsoft.com/office/drawing/2014/main" id="{E6278598-3D8A-5EC6-0AF9-1CFBE7F2DB46}"/>
              </a:ext>
            </a:extLst>
          </p:cNvPr>
          <p:cNvCxnSpPr>
            <a:cxnSpLocks/>
          </p:cNvCxnSpPr>
          <p:nvPr/>
        </p:nvCxnSpPr>
        <p:spPr bwMode="auto">
          <a:xfrm>
            <a:off x="8658323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主要数据结构为</a:t>
            </a:r>
            <a:r>
              <a:rPr sz="2400" b="0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ourier New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4F1F761E-174F-F2CA-C6D2-45E681BDE00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C80EE4C3-AD4C-0C98-105C-A490FD0ECDB9}"/>
              </a:ext>
            </a:extLst>
          </p:cNvPr>
          <p:cNvSpPr txBox="1"/>
          <p:nvPr/>
        </p:nvSpPr>
        <p:spPr bwMode="auto">
          <a:xfrm>
            <a:off x="906498" y="2322648"/>
            <a:ext cx="6311023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te_list_item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状态列表项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riority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优先级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ask_name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名称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pointer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指针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length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长度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162563A1-4070-CEBA-D599-D4E2D40374F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85557819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运行冒泡排序程序，统计访存时间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F8B0878E-D3F0-49B0-050F-39BD663012D3}"/>
              </a:ext>
            </a:extLst>
          </p:cNvPr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address_map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虚拟地址映射到物理地址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先查找TLB,未命中则访问页表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页表项无效时,触发页面错误</a:t>
            </a: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LRU/FIFO链表和TLB</a:t>
            </a:r>
            <a:endParaRPr sz="2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154B8755-DBD3-EFB8-E68E-79A48F2337C0}"/>
              </a:ext>
            </a:extLst>
          </p:cNvPr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pageFault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处理页面错误情况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根据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ReplacementStrategy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选择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若使用TLB,清除被替换页的TLB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脏页写回磁盘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读入导致页面错误的页到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和LRU/FIFO链表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2BBD83B7-9074-F455-2C48-E40EF37B9E18}"/>
              </a:ext>
            </a:extLst>
          </p:cNvPr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search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TLB中搜索虚拟地址映射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找到则更新引用位和脏位</a:t>
            </a: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未找到返回</a:t>
            </a: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-1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(TLB未命中)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654427" y="850899"/>
            <a:ext cx="6437585" cy="555624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A5F72573-7C07-558C-6CFD-25C7916968AD}"/>
              </a:ext>
            </a:extLst>
          </p:cNvPr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update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页号和帧号映射添加到TLB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优先使用空闲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无空闲条目时,使用LRU替换策略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被替换条目脏位为1,更新页表项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模拟结果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t>TODO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4000" dirty="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39763484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8000" dirty="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 dirty="0"/>
          </a:p>
        </p:txBody>
      </p:sp>
    </p:spTree>
    <p:extLst>
      <p:ext uri="{BB962C8B-B14F-4D97-AF65-F5344CB8AC3E}">
        <p14:creationId xmlns:p14="http://schemas.microsoft.com/office/powerpoint/2010/main" val="11197385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(bindgen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4B5E5138-A026-1533-B84F-CDB43EC91014}"/>
              </a:ext>
            </a:extLst>
          </p:cNvPr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用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wrapper.c</a:t>
            </a:r>
            <a:r>
              <a:rPr sz="24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include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所有头文件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。</a:t>
            </a:r>
          </a:p>
          <a:p>
            <a:pPr marL="283879" indent="-283879">
              <a:buFont typeface="Arial"/>
              <a:buChar char="•"/>
              <a:defRPr/>
            </a:pP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再对这一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c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文件进行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gen，可以得到干净的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bind.rs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（不会生成调用的库函数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）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缓冲区溢出、越界访问等常见的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6679269" y="6057781"/>
            <a:ext cx="377539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细致！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 bwMode="auto">
          <a:xfrm>
            <a:off x="523733" y="1687902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altLang="en-US" dirty="0"/>
              <a:t>王劲博：组员，参与</a:t>
            </a:r>
            <a:r>
              <a:rPr lang="en-US" altLang="zh-CN" dirty="0"/>
              <a:t>PPT</a:t>
            </a:r>
            <a:r>
              <a:rPr lang="zh-CN" altLang="en-US" dirty="0"/>
              <a:t>制作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054150" y="3989209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01075" y="6100259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  <p:sp>
        <p:nvSpPr>
          <p:cNvPr id="2" name="文本框 2">
            <a:extLst>
              <a:ext uri="{FF2B5EF4-FFF2-40B4-BE49-F238E27FC236}">
                <a16:creationId xmlns:a16="http://schemas.microsoft.com/office/drawing/2014/main" id="{30E14B2F-D123-885E-4DB0-285C9209D1E8}"/>
              </a:ext>
            </a:extLst>
          </p:cNvPr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小组分工</a:t>
            </a:r>
            <a:endParaRPr lang="zh-CN" sz="44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 dirty="0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/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项目完成度</a:t>
                      </a:r>
                      <a:r>
                        <a:rPr sz="2600" b="1" u="none" dirty="0">
                          <a:solidFill>
                            <a:schemeClr val="bg1"/>
                          </a:solidFill>
                        </a:rPr>
                        <a:t>\</a:t>
                      </a: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组名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rust完整改写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1</TotalTime>
  <Words>1853</Words>
  <Application>Microsoft Office PowerPoint</Application>
  <DocSecurity>0</DocSecurity>
  <PresentationFormat>宽屏</PresentationFormat>
  <Paragraphs>228</Paragraphs>
  <Slides>33</Slides>
  <Notes>3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3</vt:i4>
      </vt:variant>
    </vt:vector>
  </HeadingPairs>
  <TitlesOfParts>
    <vt:vector size="44" baseType="lpstr">
      <vt:lpstr>等线</vt:lpstr>
      <vt:lpstr>等线 Light</vt:lpstr>
      <vt:lpstr>微软雅黑</vt:lpstr>
      <vt:lpstr>Arial</vt:lpstr>
      <vt:lpstr>Calibri</vt:lpstr>
      <vt:lpstr>Consolas</vt:lpstr>
      <vt:lpstr>Segoe UI</vt:lpstr>
      <vt:lpstr>Segoe UI Light</vt:lpstr>
      <vt:lpstr>Office Theme</vt:lpstr>
      <vt:lpstr>oleObj</vt:lpstr>
      <vt:lpstr>think-cell Slide</vt:lpstr>
      <vt:lpstr>PowerPoint 演示文稿</vt:lpstr>
      <vt:lpstr>PowerPoint 演示文稿</vt:lpstr>
      <vt:lpstr>PowerPoint 演示文稿</vt:lpstr>
      <vt:lpstr>引言——项目背景 FreeRTOS</vt:lpstr>
      <vt:lpstr>引言——项目背景 Rust</vt:lpstr>
      <vt:lpstr>项目目标 ——用 Rust 改写 FreeRTOS 并支持 MMU</vt:lpstr>
      <vt:lpstr>PowerPoint 演示文稿</vt:lpstr>
      <vt:lpstr>PowerPoint 演示文稿</vt:lpstr>
      <vt:lpstr>PowerPoint 演示文稿</vt:lpstr>
      <vt:lpstr>PowerPoint 演示文稿</vt:lpstr>
      <vt:lpstr>Rust改写 原始FreeRTOS分析</vt:lpstr>
      <vt:lpstr>Rust改写 原始FreeRTOS分析</vt:lpstr>
      <vt:lpstr>Rust改写 基本方法与原则</vt:lpstr>
      <vt:lpstr>Rust改写——遇到的困难与解决方案 C与Rust的相互调用</vt:lpstr>
      <vt:lpstr>Rust改写——遇到的困难与解决方案 所有权机制</vt:lpstr>
      <vt:lpstr>Rust改写——遇到的困难与解决方案 Const常量重复定义</vt:lpstr>
      <vt:lpstr>Rust改写——遇到的困难与解决方案 Const常量重复定义</vt:lpstr>
      <vt:lpstr>Rust改写——遇到的困难与解决方案 适配上板</vt:lpstr>
      <vt:lpstr>Rust改写——遇到的困难与解决方案 适配上板</vt:lpstr>
      <vt:lpstr>Rust改写——关键模块 task模块</vt:lpstr>
      <vt:lpstr>Rust改写——关键模块 task模块</vt:lpstr>
      <vt:lpstr>PowerPoint 演示文稿</vt:lpstr>
      <vt:lpstr>MMU部分</vt:lpstr>
      <vt:lpstr>MMU部分（关键函数）</vt:lpstr>
      <vt:lpstr>MMU部分（关键函数）</vt:lpstr>
      <vt:lpstr>MMU部分（关键函数）</vt:lpstr>
      <vt:lpstr>MMU部分（关键函数）</vt:lpstr>
      <vt:lpstr>MMU部分（模拟结果）</vt:lpstr>
      <vt:lpstr>PowerPoint 演示文稿</vt:lpstr>
      <vt:lpstr>交叉编译与上板(bindgen方案)</vt:lpstr>
      <vt:lpstr>交叉编译与上板</vt:lpstr>
      <vt:lpstr>交叉编译与上板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Donghao Guo</cp:lastModifiedBy>
  <cp:revision>254</cp:revision>
  <dcterms:created xsi:type="dcterms:W3CDTF">2019-08-16T12:08:31Z</dcterms:created>
  <dcterms:modified xsi:type="dcterms:W3CDTF">2024-07-05T13:19:19Z</dcterms:modified>
  <cp:category/>
  <dc:identifier/>
  <cp:contentStatus/>
  <dc:language/>
  <cp:version/>
</cp:coreProperties>
</file>